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6"/>
  </p:notesMasterIdLst>
  <p:sldIdLst>
    <p:sldId id="765" r:id="rId3"/>
    <p:sldId id="800" r:id="rId4"/>
    <p:sldId id="731" r:id="rId5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14" autoAdjust="0"/>
    <p:restoredTop sz="94660"/>
  </p:normalViewPr>
  <p:slideViewPr>
    <p:cSldViewPr snapToGrid="0">
      <p:cViewPr varScale="1">
        <p:scale>
          <a:sx n="117" d="100"/>
          <a:sy n="117" d="100"/>
        </p:scale>
        <p:origin x="-354" y="-10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0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B3B247-53D4-49EF-9D23-AFCE111F2BB8}" type="datetimeFigureOut">
              <a:rPr lang="ru-RU" smtClean="0"/>
              <a:t>30.07.2024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712458A-4B2C-4421-992C-DE7738DECCE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116162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DC1EF62-428B-4A55-8A49-29D4D214BF1B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2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2050">
            <a:extLst>
              <a:ext uri="{FF2B5EF4-FFF2-40B4-BE49-F238E27FC236}">
                <a16:creationId xmlns="" xmlns:a16="http://schemas.microsoft.com/office/drawing/2014/main" id="{198E95A9-8416-49AB-A6D8-B072A19F1053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85800" y="1143000"/>
            <a:ext cx="5486400" cy="3086100"/>
          </a:xfrm>
          <a:solidFill>
            <a:srgbClr val="FFFFFF"/>
          </a:solidFill>
          <a:ln/>
        </p:spPr>
      </p:sp>
      <p:sp>
        <p:nvSpPr>
          <p:cNvPr id="17411" name="Rectangle 2051">
            <a:extLst>
              <a:ext uri="{FF2B5EF4-FFF2-40B4-BE49-F238E27FC236}">
                <a16:creationId xmlns="" xmlns:a16="http://schemas.microsoft.com/office/drawing/2014/main" id="{79A7F0F5-0456-413E-B456-220CC903D385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solidFill>
            <a:srgbClr val="FFFFFF"/>
          </a:solidFill>
          <a:ln>
            <a:solidFill>
              <a:srgbClr val="000000"/>
            </a:solidFill>
          </a:ln>
        </p:spPr>
        <p:txBody>
          <a:bodyPr lIns="91437" tIns="45718" rIns="91437" bIns="45718"/>
          <a:lstStyle/>
          <a:p>
            <a:endParaRPr lang="ru-RU" altLang="ru-RU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D62DEB37-161C-4124-AB00-69C6731734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="" xmlns:a16="http://schemas.microsoft.com/office/drawing/2014/main" id="{7A97BCD3-C703-450B-8F63-42DB2EE4FA6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06E47BCB-BB60-4CA5-A494-A3E6C02412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62A314-DC1F-45B8-9DC3-E3D6A38E4CFB}" type="datetimeFigureOut">
              <a:rPr lang="ru-RU" smtClean="0"/>
              <a:t>30.07.2024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AFA79C24-A3E9-4F6A-95F4-F32C83DC94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A7B31131-6EDF-4445-81F6-B09630F4C1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BB4044-92C7-4BC3-B06F-0F29D69CCE9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8153870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CD734595-BC75-4219-903A-FF2D0648CB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="" xmlns:a16="http://schemas.microsoft.com/office/drawing/2014/main" id="{832ED335-773F-4653-989C-020D4B6AC45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72D0BAA9-B5A8-4E40-BCDD-069865671E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62A314-DC1F-45B8-9DC3-E3D6A38E4CFB}" type="datetimeFigureOut">
              <a:rPr lang="ru-RU" smtClean="0"/>
              <a:t>30.07.2024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0CFCB315-D521-4C4C-8372-9357044AA6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B7E2B477-1698-4C64-8D76-FB7129A904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BB4044-92C7-4BC3-B06F-0F29D69CCE9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7226219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="" xmlns:a16="http://schemas.microsoft.com/office/drawing/2014/main" id="{07B93E8D-38EF-4DA0-B973-8F40920C14B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="" xmlns:a16="http://schemas.microsoft.com/office/drawing/2014/main" id="{B031ECB9-4884-4D20-8024-7CD704F231C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144029F7-192C-401E-B8A8-AA0153FCE0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62A314-DC1F-45B8-9DC3-E3D6A38E4CFB}" type="datetimeFigureOut">
              <a:rPr lang="ru-RU" smtClean="0"/>
              <a:t>30.07.2024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3373C0C9-0E3C-40A7-A7C3-6FFE619CF6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8191F32F-E210-4FF9-A2CD-6B1A107CC2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BB4044-92C7-4BC3-B06F-0F29D69CCE9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7424295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2130431"/>
            <a:ext cx="103632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DAE975D-0691-4BE2-95BD-D96377C2A3B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0.07.2024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069877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3EDD0846-B478-4933-926F-0AEC6897DBF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0.07.2024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958072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4" y="4406906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B6A2BC6-50E4-4E87-8FB6-26F84F2FEAD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0.07.2024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122270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60401" y="1600205"/>
            <a:ext cx="58420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705601" y="1600205"/>
            <a:ext cx="58420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0EB6E54-A47D-4C7A-8346-5444C5D2929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0.07.2024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59298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70" y="1535113"/>
            <a:ext cx="5389034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93370" y="2174875"/>
            <a:ext cx="5389034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F85510C-3947-4ECE-87F8-BBFE5ECF1872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0.07.2024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653260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5C61C72A-39DA-49A9-8D50-4154D7C3745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0.07.2024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808388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1C18473-348D-4C72-93BE-6D34316B3A81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0.07.2024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765329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766736" y="273056"/>
            <a:ext cx="6815666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0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A262510A-471E-4E68-8AEC-A62B8E7E0D2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0.07.2024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07764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7D05EDC0-431D-4BED-9FEE-71078F9B27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="" xmlns:a16="http://schemas.microsoft.com/office/drawing/2014/main" id="{97C26B65-DC5C-47F2-A8FB-91928A09BDA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E97DCCAB-2081-41B2-A1A3-09B0799CB9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62A314-DC1F-45B8-9DC3-E3D6A38E4CFB}" type="datetimeFigureOut">
              <a:rPr lang="ru-RU" smtClean="0"/>
              <a:t>30.07.2024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2EEE8B77-C278-45F0-BC38-4D14A09597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96BA428C-0F6C-4104-BC7B-62A3AD7A0B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BB4044-92C7-4BC3-B06F-0F29D69CCE9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473947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33F38502-F902-4B28-AEC3-8E0E57E3B8D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0.07.2024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897259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3C417381-FEB1-4F69-9F5E-29D4B1416361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0.07.2024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372873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9575799" y="274643"/>
            <a:ext cx="2971801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60403" y="274643"/>
            <a:ext cx="8712201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CEE7EA27-9535-4389-92AB-875C848EFD45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0.07.2024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90314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87E00DAD-BA71-4310-8DA7-D0863D556C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="" xmlns:a16="http://schemas.microsoft.com/office/drawing/2014/main" id="{7D53E390-A06F-4E58-ACE6-EDE25BDCDE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5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BC75C10D-32C0-4B52-B862-88E9667CA3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62A314-DC1F-45B8-9DC3-E3D6A38E4CFB}" type="datetimeFigureOut">
              <a:rPr lang="ru-RU" smtClean="0"/>
              <a:t>30.07.2024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6230FAC5-9CCF-4B73-A92F-65259F9C99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F9C7DB30-F876-430D-9F3A-767336A43C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BB4044-92C7-4BC3-B06F-0F29D69CCE9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1926137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4E80D04C-367E-4C0D-BFE1-B4138878D5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="" xmlns:a16="http://schemas.microsoft.com/office/drawing/2014/main" id="{7354D4B9-7A08-452E-8919-ECB1E89DCDB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1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="" xmlns:a16="http://schemas.microsoft.com/office/drawing/2014/main" id="{203BEB72-A4B5-460D-866E-96233FB93EF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1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="" xmlns:a16="http://schemas.microsoft.com/office/drawing/2014/main" id="{5CE3C072-8D02-454D-8305-85555340A4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62A314-DC1F-45B8-9DC3-E3D6A38E4CFB}" type="datetimeFigureOut">
              <a:rPr lang="ru-RU" smtClean="0"/>
              <a:t>30.07.2024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="" xmlns:a16="http://schemas.microsoft.com/office/drawing/2014/main" id="{2479232E-41EF-417E-8F99-B190E8F71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="" xmlns:a16="http://schemas.microsoft.com/office/drawing/2014/main" id="{081379C2-189C-40DB-909B-C9D71E3EF2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BB4044-92C7-4BC3-B06F-0F29D69CCE9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1364219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567EAD3A-655C-4891-B8A5-70498E5D01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9" y="365126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="" xmlns:a16="http://schemas.microsoft.com/office/drawing/2014/main" id="{843698C7-7A06-4323-B5B8-E337E27F23E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="" xmlns:a16="http://schemas.microsoft.com/office/drawing/2014/main" id="{F396E6E7-EB47-4341-985D-E55C13B4F27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="" xmlns:a16="http://schemas.microsoft.com/office/drawing/2014/main" id="{A0654CBD-7E4A-40D3-BEDD-E6A98BC894B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="" xmlns:a16="http://schemas.microsoft.com/office/drawing/2014/main" id="{71FF5D77-95BC-444E-A2A6-E7A4FB57F9A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="" xmlns:a16="http://schemas.microsoft.com/office/drawing/2014/main" id="{18D00EC1-23FA-4818-AC6C-AB085CBB55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62A314-DC1F-45B8-9DC3-E3D6A38E4CFB}" type="datetimeFigureOut">
              <a:rPr lang="ru-RU" smtClean="0"/>
              <a:t>30.07.2024</a:t>
            </a:fld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="" xmlns:a16="http://schemas.microsoft.com/office/drawing/2014/main" id="{2646A35E-A3C1-43BF-BF31-856BE41A9B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="" xmlns:a16="http://schemas.microsoft.com/office/drawing/2014/main" id="{DF72FF4D-B2D8-4C3D-92CC-6F752004BA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BB4044-92C7-4BC3-B06F-0F29D69CCE9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9921260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E64A475A-9B9B-4CF9-AB49-918DD3D347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="" xmlns:a16="http://schemas.microsoft.com/office/drawing/2014/main" id="{FFAFE865-2015-4689-BC6E-1777E74640D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62A314-DC1F-45B8-9DC3-E3D6A38E4CFB}" type="datetimeFigureOut">
              <a:rPr lang="ru-RU" smtClean="0"/>
              <a:t>30.07.2024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="" xmlns:a16="http://schemas.microsoft.com/office/drawing/2014/main" id="{276D45A4-03B0-4E74-9102-A27CF20544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="" xmlns:a16="http://schemas.microsoft.com/office/drawing/2014/main" id="{FCA4EB57-6867-45AE-A5E2-FB801846C1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BB4044-92C7-4BC3-B06F-0F29D69CCE9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6017537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="" xmlns:a16="http://schemas.microsoft.com/office/drawing/2014/main" id="{CB5A7D22-471B-4E0B-B003-74AF566581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62A314-DC1F-45B8-9DC3-E3D6A38E4CFB}" type="datetimeFigureOut">
              <a:rPr lang="ru-RU" smtClean="0"/>
              <a:t>30.07.2024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="" xmlns:a16="http://schemas.microsoft.com/office/drawing/2014/main" id="{26F692DE-92FA-4B94-BAAE-E7C30559BF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="" xmlns:a16="http://schemas.microsoft.com/office/drawing/2014/main" id="{7D3E028D-08AF-4D36-89EF-4A579C4C62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BB4044-92C7-4BC3-B06F-0F29D69CCE9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497202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58B5C586-4D31-4E34-A78B-9279566210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="" xmlns:a16="http://schemas.microsoft.com/office/drawing/2014/main" id="{C5A5FA3F-787B-404D-B7C7-9C2FB28A6B7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6"/>
            <a:ext cx="6172201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="" xmlns:a16="http://schemas.microsoft.com/office/drawing/2014/main" id="{C26FD60D-9850-4CC9-AC4A-D47A0E9626F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="" xmlns:a16="http://schemas.microsoft.com/office/drawing/2014/main" id="{4A1452F4-8A54-4BDC-B9CF-449D0651F9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62A314-DC1F-45B8-9DC3-E3D6A38E4CFB}" type="datetimeFigureOut">
              <a:rPr lang="ru-RU" smtClean="0"/>
              <a:t>30.07.2024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="" xmlns:a16="http://schemas.microsoft.com/office/drawing/2014/main" id="{2438A3E9-6AE4-4343-8649-B5A940AF75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="" xmlns:a16="http://schemas.microsoft.com/office/drawing/2014/main" id="{F3B51245-62DC-4491-AA68-2C4D2754BA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BB4044-92C7-4BC3-B06F-0F29D69CCE9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0766434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A9587714-D2D9-4FDD-B394-C5D2AEADAE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="" xmlns:a16="http://schemas.microsoft.com/office/drawing/2014/main" id="{4AFB0C2E-47CD-4A12-92F5-DFC61E1EBB4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6"/>
            <a:ext cx="6172201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="" xmlns:a16="http://schemas.microsoft.com/office/drawing/2014/main" id="{28E18587-74F1-433D-AA64-FB96C729D7A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="" xmlns:a16="http://schemas.microsoft.com/office/drawing/2014/main" id="{A7CB6007-ED58-462D-9D5E-A6D93410AE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62A314-DC1F-45B8-9DC3-E3D6A38E4CFB}" type="datetimeFigureOut">
              <a:rPr lang="ru-RU" smtClean="0"/>
              <a:t>30.07.2024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="" xmlns:a16="http://schemas.microsoft.com/office/drawing/2014/main" id="{0AE160EB-9B41-4C4D-A807-ADB56E585D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="" xmlns:a16="http://schemas.microsoft.com/office/drawing/2014/main" id="{6D77BE5C-74C2-453A-B1DB-376BA6414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BB4044-92C7-4BC3-B06F-0F29D69CCE9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413250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3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6442FEFC-7CFD-4F15-B5C8-0D6A7F76A4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365126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="" xmlns:a16="http://schemas.microsoft.com/office/drawing/2014/main" id="{08743814-66F0-47BA-A1A7-5C2A8C1EE59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1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5CEA02CF-F3C8-45B1-86A4-E76390C0554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1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C62A314-DC1F-45B8-9DC3-E3D6A38E4CFB}" type="datetimeFigureOut">
              <a:rPr lang="ru-RU" smtClean="0"/>
              <a:t>30.07.2024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F9A158DC-DCC3-4C90-92BB-4BCF7EADD37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1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BA6A990F-39D9-4619-99AA-72123183AAC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1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1BB4044-92C7-4BC3-B06F-0F29D69CCE9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394051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600205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600" y="6356356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E9611CD-D1F3-4047-A96C-D0E6B4A5AFF9}" type="datetime1">
              <a:rPr lang="ru-RU" b="1" smtClean="0">
                <a:solidFill>
                  <a:prstClr val="black">
                    <a:tint val="75000"/>
                  </a:prstClr>
                </a:solidFill>
                <a:latin typeface="Times New Roman" pitchFamily="18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30.07.2024</a:t>
            </a:fld>
            <a:endParaRPr lang="ru-RU" b="1" dirty="0">
              <a:solidFill>
                <a:prstClr val="black">
                  <a:tint val="75000"/>
                </a:prstClr>
              </a:solidFill>
              <a:latin typeface="Times New Roman" pitchFamily="18" charset="0"/>
              <a:cs typeface="Arial" charset="0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600" y="6356356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b="1" dirty="0">
              <a:solidFill>
                <a:prstClr val="black">
                  <a:tint val="75000"/>
                </a:prstClr>
              </a:solidFill>
              <a:latin typeface="Times New Roman" pitchFamily="18" charset="0"/>
              <a:cs typeface="Arial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37600" y="6356356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CF3A0CE-FB47-4628-AF62-2D67A550A453}" type="slidenum">
              <a:rPr lang="ru-RU" b="1" smtClean="0">
                <a:solidFill>
                  <a:prstClr val="black">
                    <a:tint val="75000"/>
                  </a:prstClr>
                </a:solidFill>
                <a:latin typeface="Times New Roman" pitchFamily="18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b="1" dirty="0">
              <a:solidFill>
                <a:prstClr val="black">
                  <a:tint val="75000"/>
                </a:prstClr>
              </a:solidFill>
              <a:latin typeface="Times New Roman" pitchFamily="18" charset="0"/>
              <a:cs typeface="Arial" charset="0"/>
            </a:endParaRPr>
          </a:p>
        </p:txBody>
      </p:sp>
      <p:graphicFrame>
        <p:nvGraphicFramePr>
          <p:cNvPr id="7" name="Объект 6" hidden="1">
            <a:extLst>
              <a:ext uri="{FF2B5EF4-FFF2-40B4-BE49-F238E27FC236}">
                <a16:creationId xmlns="" xmlns:a16="http://schemas.microsoft.com/office/drawing/2014/main" id="{D2188727-96D6-4DD2-BBAA-E46E82FD76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294555014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Слайд think-cell" r:id="rId16" imgW="443" imgH="443" progId="TCLayout.ActiveDocument.1">
                  <p:embed/>
                </p:oleObj>
              </mc:Choice>
              <mc:Fallback>
                <p:oleObj name="Слайд think-cell" r:id="rId1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>
            <a:extLst>
              <a:ext uri="{FF2B5EF4-FFF2-40B4-BE49-F238E27FC236}">
                <a16:creationId xmlns="" xmlns:a16="http://schemas.microsoft.com/office/drawing/2014/main" id="{0758FAD8-99FF-46E4-8FE2-B6967A8D7C9B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95385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44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101324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ransition>
    <p:cut/>
  </p:transition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7" Type="http://schemas.openxmlformats.org/officeDocument/2006/relationships/image" Target="../media/image7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.jpeg"/><Relationship Id="rId5" Type="http://schemas.openxmlformats.org/officeDocument/2006/relationships/image" Target="../media/image5.png"/><Relationship Id="rId4" Type="http://schemas.openxmlformats.org/officeDocument/2006/relationships/image" Target="../media/image4.jpe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4.xml"/><Relationship Id="rId7" Type="http://schemas.openxmlformats.org/officeDocument/2006/relationships/image" Target="../media/image1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://www.atomsib.ru/press_center/pub_icons/625.jpg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Line 2">
            <a:extLst>
              <a:ext uri="{FF2B5EF4-FFF2-40B4-BE49-F238E27FC236}">
                <a16:creationId xmlns="" xmlns:a16="http://schemas.microsoft.com/office/drawing/2014/main" id="{9968DBE7-BDFA-4BB8-9C20-A28146FAB0F4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881158" y="731837"/>
            <a:ext cx="8501122" cy="0"/>
          </a:xfrm>
          <a:prstGeom prst="line">
            <a:avLst/>
          </a:prstGeom>
          <a:noFill/>
          <a:ln w="38100">
            <a:solidFill>
              <a:srgbClr val="C00000"/>
            </a:solidFill>
            <a:round/>
            <a:headEnd/>
            <a:tailEnd/>
          </a:ln>
          <a:scene3d>
            <a:camera prst="orthographicFront"/>
            <a:lightRig rig="threePt" dir="t"/>
          </a:scene3d>
          <a:sp3d>
            <a:bevelT w="139700"/>
          </a:sp3d>
        </p:spPr>
        <p:txBody>
          <a:bodyPr wrap="none" anchor="ctr"/>
          <a:lstStyle/>
          <a:p>
            <a:pPr eaLnBrk="1" hangingPunct="1">
              <a:defRPr/>
            </a:pPr>
            <a:endParaRPr lang="ru-RU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538626" name="Rectangle 2">
            <a:extLst>
              <a:ext uri="{FF2B5EF4-FFF2-40B4-BE49-F238E27FC236}">
                <a16:creationId xmlns="" xmlns:a16="http://schemas.microsoft.com/office/drawing/2014/main" id="{062F4119-05DD-4DF2-AC26-BB7AC6E2C61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4000" y="2133603"/>
            <a:ext cx="9144000" cy="1616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075" tIns="46038" rIns="92075" bIns="46038" anchor="ctr"/>
          <a:lstStyle/>
          <a:p>
            <a:pPr algn="ctr" eaLnBrk="1" hangingPunct="1">
              <a:defRPr/>
            </a:pPr>
            <a:endParaRPr lang="ru-RU" b="1" cap="all" dirty="0">
              <a:solidFill>
                <a:schemeClr val="accent6">
                  <a:lumMod val="75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5123" name="Rectangle 3">
            <a:extLst>
              <a:ext uri="{FF2B5EF4-FFF2-40B4-BE49-F238E27FC236}">
                <a16:creationId xmlns="" xmlns:a16="http://schemas.microsoft.com/office/drawing/2014/main" id="{2CE182F7-FF99-409E-A709-C38E4F71629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4000" y="5029200"/>
            <a:ext cx="9144000" cy="68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075" tIns="46038" rIns="92075" bIns="46038"/>
          <a:lstStyle/>
          <a:p>
            <a:pPr algn="ctr" eaLnBrk="1" hangingPunct="1">
              <a:lnSpc>
                <a:spcPct val="90000"/>
              </a:lnSpc>
              <a:defRPr/>
            </a:pPr>
            <a:endParaRPr kumimoji="1" lang="ru-RU" sz="2000" b="1" dirty="0">
              <a:ln w="1905"/>
              <a:gradFill>
                <a:gsLst>
                  <a:gs pos="0">
                    <a:schemeClr val="accent6">
                      <a:shade val="20000"/>
                      <a:satMod val="200000"/>
                    </a:schemeClr>
                  </a:gs>
                  <a:gs pos="78000">
                    <a:schemeClr val="accent6">
                      <a:tint val="90000"/>
                      <a:shade val="89000"/>
                      <a:satMod val="220000"/>
                    </a:schemeClr>
                  </a:gs>
                  <a:gs pos="100000">
                    <a:schemeClr val="accent6">
                      <a:tint val="12000"/>
                      <a:satMod val="255000"/>
                    </a:schemeClr>
                  </a:gs>
                </a:gsLst>
                <a:lin ang="5400000"/>
              </a:gra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Calibri" pitchFamily="34" charset="0"/>
              <a:cs typeface="Calibri" pitchFamily="34" charset="0"/>
            </a:endParaRPr>
          </a:p>
        </p:txBody>
      </p:sp>
      <p:sp>
        <p:nvSpPr>
          <p:cNvPr id="5124" name="Text Box 4">
            <a:extLst>
              <a:ext uri="{FF2B5EF4-FFF2-40B4-BE49-F238E27FC236}">
                <a16:creationId xmlns="" xmlns:a16="http://schemas.microsoft.com/office/drawing/2014/main" id="{BCF90105-9C0B-44B0-9462-75C21E897CD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28800" y="6172203"/>
            <a:ext cx="853440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kumimoji="1" lang="ru-RU" sz="2000" b="1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Calibri" pitchFamily="34" charset="0"/>
                <a:cs typeface="Calibri" pitchFamily="34" charset="0"/>
              </a:rPr>
              <a:t>30 июля  </a:t>
            </a:r>
            <a:r>
              <a:rPr kumimoji="1" lang="ru-RU" sz="2000" b="1" dirty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Calibri" pitchFamily="34" charset="0"/>
                <a:cs typeface="Calibri" pitchFamily="34" charset="0"/>
              </a:rPr>
              <a:t>2024 г.</a:t>
            </a:r>
          </a:p>
        </p:txBody>
      </p:sp>
      <p:grpSp>
        <p:nvGrpSpPr>
          <p:cNvPr id="4104" name="Group 36">
            <a:extLst>
              <a:ext uri="{FF2B5EF4-FFF2-40B4-BE49-F238E27FC236}">
                <a16:creationId xmlns="" xmlns:a16="http://schemas.microsoft.com/office/drawing/2014/main" id="{D1A7D7A9-8FFC-45FC-B0F8-E74CBF0ECE12}"/>
              </a:ext>
            </a:extLst>
          </p:cNvPr>
          <p:cNvGrpSpPr>
            <a:grpSpLocks/>
          </p:cNvGrpSpPr>
          <p:nvPr/>
        </p:nvGrpSpPr>
        <p:grpSpPr bwMode="auto">
          <a:xfrm>
            <a:off x="127000" y="-192088"/>
            <a:ext cx="11620500" cy="2203451"/>
            <a:chOff x="-880" y="-376"/>
            <a:chExt cx="7320" cy="1388"/>
          </a:xfrm>
        </p:grpSpPr>
        <p:sp>
          <p:nvSpPr>
            <p:cNvPr id="4117" name="Rectangle 37">
              <a:extLst>
                <a:ext uri="{FF2B5EF4-FFF2-40B4-BE49-F238E27FC236}">
                  <a16:creationId xmlns="" xmlns:a16="http://schemas.microsoft.com/office/drawing/2014/main" id="{F5BD679B-C294-48DB-A20E-04E8ADDCBB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0" y="346"/>
              <a:ext cx="5760" cy="59"/>
            </a:xfrm>
            <a:prstGeom prst="rect">
              <a:avLst/>
            </a:prstGeom>
            <a:gradFill rotWithShape="0">
              <a:gsLst>
                <a:gs pos="0">
                  <a:srgbClr val="003366"/>
                </a:gs>
                <a:gs pos="100000">
                  <a:srgbClr val="0000CC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1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5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3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3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3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3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endParaRPr kumimoji="1" lang="ru-RU" altLang="ru-RU" sz="1400" b="1"/>
            </a:p>
          </p:txBody>
        </p:sp>
        <p:sp>
          <p:nvSpPr>
            <p:cNvPr id="5130" name="Rectangle 38">
              <a:extLst>
                <a:ext uri="{FF2B5EF4-FFF2-40B4-BE49-F238E27FC236}">
                  <a16:creationId xmlns="" xmlns:a16="http://schemas.microsoft.com/office/drawing/2014/main" id="{641F634F-4794-4400-84A1-2DB95FE7D8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0" y="458"/>
              <a:ext cx="5760" cy="166"/>
            </a:xfrm>
            <a:prstGeom prst="rect">
              <a:avLst/>
            </a:prstGeom>
            <a:gradFill rotWithShape="0">
              <a:gsLst>
                <a:gs pos="0">
                  <a:srgbClr val="003366"/>
                </a:gs>
                <a:gs pos="100000">
                  <a:srgbClr val="0000CC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txBody>
            <a:bodyPr/>
            <a:lstStyle/>
            <a:p>
              <a:pPr eaLnBrk="1" hangingPunct="1">
                <a:defRPr/>
              </a:pPr>
              <a:endParaRPr kumimoji="1" lang="ru-RU" sz="1400" b="1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131" name="Rectangle 39">
              <a:extLst>
                <a:ext uri="{FF2B5EF4-FFF2-40B4-BE49-F238E27FC236}">
                  <a16:creationId xmlns="" xmlns:a16="http://schemas.microsoft.com/office/drawing/2014/main" id="{84E4F7D7-3041-4BA6-9396-E22CEF9F87D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0" y="401"/>
              <a:ext cx="5760" cy="81"/>
            </a:xfrm>
            <a:prstGeom prst="rect">
              <a:avLst/>
            </a:prstGeom>
            <a:solidFill>
              <a:srgbClr val="993300"/>
            </a:solidFill>
            <a:ln w="9525">
              <a:noFill/>
              <a:miter lim="800000"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txBody>
            <a:bodyPr/>
            <a:lstStyle/>
            <a:p>
              <a:pPr eaLnBrk="1" hangingPunct="1">
                <a:defRPr/>
              </a:pPr>
              <a:endParaRPr kumimoji="1" lang="ru-RU" sz="1400" b="1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" name="Text Box 40">
              <a:extLst>
                <a:ext uri="{FF2B5EF4-FFF2-40B4-BE49-F238E27FC236}">
                  <a16:creationId xmlns="" xmlns:a16="http://schemas.microsoft.com/office/drawing/2014/main" id="{6B6FCAB5-95B4-400B-B6C4-C6E6BF79FA9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-880" y="-376"/>
              <a:ext cx="7320" cy="5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algn="ctr" eaLnBrk="1" hangingPunct="1">
                <a:lnSpc>
                  <a:spcPct val="90000"/>
                </a:lnSpc>
                <a:defRPr/>
              </a:pPr>
              <a:endParaRPr kumimoji="1" lang="en-US" b="1" dirty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Calibri" pitchFamily="34" charset="0"/>
                <a:cs typeface="Calibri" pitchFamily="34" charset="0"/>
              </a:endParaRPr>
            </a:p>
            <a:p>
              <a:pPr algn="ctr" eaLnBrk="1" hangingPunct="1">
                <a:lnSpc>
                  <a:spcPct val="90000"/>
                </a:lnSpc>
                <a:defRPr/>
              </a:pPr>
              <a:r>
                <a:rPr kumimoji="1" lang="ru-RU" sz="2000" b="1" dirty="0">
                  <a:ln w="1905"/>
                  <a:solidFill>
                    <a:schemeClr val="accent5">
                      <a:lumMod val="50000"/>
                    </a:schemeClr>
                  </a:solidFill>
                  <a:effectLst>
                    <a:innerShdw blurRad="69850" dist="43180" dir="5400000">
                      <a:srgbClr val="000000">
                        <a:alpha val="65000"/>
                      </a:srgbClr>
                    </a:innerShdw>
                  </a:effectLst>
                  <a:latin typeface="Times New Roman" panose="02020603050405020304" pitchFamily="18" charset="0"/>
                  <a:cs typeface="Times New Roman" panose="02020603050405020304" pitchFamily="18" charset="0"/>
                </a:rPr>
                <a:t>Федеральная служба по экологическому, </a:t>
              </a:r>
            </a:p>
            <a:p>
              <a:pPr algn="ctr" eaLnBrk="1" hangingPunct="1">
                <a:lnSpc>
                  <a:spcPct val="90000"/>
                </a:lnSpc>
                <a:defRPr/>
              </a:pPr>
              <a:r>
                <a:rPr kumimoji="1" lang="ru-RU" sz="2000" b="1" dirty="0">
                  <a:ln w="1905"/>
                  <a:solidFill>
                    <a:schemeClr val="accent5">
                      <a:lumMod val="50000"/>
                    </a:schemeClr>
                  </a:solidFill>
                  <a:effectLst>
                    <a:innerShdw blurRad="69850" dist="43180" dir="5400000">
                      <a:srgbClr val="000000">
                        <a:alpha val="65000"/>
                      </a:srgbClr>
                    </a:innerShdw>
                  </a:effectLst>
                  <a:latin typeface="Times New Roman" panose="02020603050405020304" pitchFamily="18" charset="0"/>
                  <a:cs typeface="Times New Roman" panose="02020603050405020304" pitchFamily="18" charset="0"/>
                </a:rPr>
                <a:t>технологическому и атомному надзору. Забайкальское управление Ростехнадзора  </a:t>
              </a:r>
            </a:p>
          </p:txBody>
        </p:sp>
        <p:pic>
          <p:nvPicPr>
            <p:cNvPr id="4125" name="Picture 41" descr="fsetan_emblema2007">
              <a:extLst>
                <a:ext uri="{FF2B5EF4-FFF2-40B4-BE49-F238E27FC236}">
                  <a16:creationId xmlns="" xmlns:a16="http://schemas.microsoft.com/office/drawing/2014/main" id="{05AACFF2-B314-4144-AB22-97058EC0E5C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5" y="263"/>
              <a:ext cx="666" cy="7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6" name="Line 2">
            <a:extLst>
              <a:ext uri="{FF2B5EF4-FFF2-40B4-BE49-F238E27FC236}">
                <a16:creationId xmlns="" xmlns:a16="http://schemas.microsoft.com/office/drawing/2014/main" id="{78ADDE7A-67FF-47BC-92F0-8E78949447EE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952625" y="5300662"/>
            <a:ext cx="8501122" cy="0"/>
          </a:xfrm>
          <a:prstGeom prst="line">
            <a:avLst/>
          </a:prstGeom>
          <a:noFill/>
          <a:ln w="38100">
            <a:solidFill>
              <a:srgbClr val="C00000"/>
            </a:solidFill>
            <a:round/>
            <a:headEnd/>
            <a:tailEnd/>
          </a:ln>
          <a:scene3d>
            <a:camera prst="orthographicFront"/>
            <a:lightRig rig="threePt" dir="t"/>
          </a:scene3d>
          <a:sp3d>
            <a:bevelT w="139700"/>
          </a:sp3d>
        </p:spPr>
        <p:txBody>
          <a:bodyPr wrap="none" anchor="ctr"/>
          <a:lstStyle/>
          <a:p>
            <a:pPr eaLnBrk="1" hangingPunct="1">
              <a:defRPr/>
            </a:pPr>
            <a:endParaRPr lang="ru-RU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3" name="Line 2">
            <a:extLst>
              <a:ext uri="{FF2B5EF4-FFF2-40B4-BE49-F238E27FC236}">
                <a16:creationId xmlns="" xmlns:a16="http://schemas.microsoft.com/office/drawing/2014/main" id="{0906889B-1DAF-4152-8B4F-60D3A75249D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524000" y="-622300"/>
            <a:ext cx="9144000" cy="0"/>
          </a:xfrm>
          <a:prstGeom prst="line">
            <a:avLst/>
          </a:prstGeom>
          <a:noFill/>
          <a:ln w="38100">
            <a:solidFill>
              <a:srgbClr val="C00000"/>
            </a:solidFill>
            <a:round/>
            <a:headEnd/>
            <a:tailEnd/>
          </a:ln>
          <a:scene3d>
            <a:camera prst="orthographicFront"/>
            <a:lightRig rig="threePt" dir="t"/>
          </a:scene3d>
          <a:sp3d>
            <a:bevelT w="139700"/>
          </a:sp3d>
        </p:spPr>
        <p:txBody>
          <a:bodyPr wrap="none" anchor="ctr"/>
          <a:lstStyle/>
          <a:p>
            <a:pPr eaLnBrk="1" hangingPunct="1">
              <a:defRPr/>
            </a:pPr>
            <a:endParaRPr lang="ru-RU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4" name="Прямоугольник 3">
            <a:extLst>
              <a:ext uri="{FF2B5EF4-FFF2-40B4-BE49-F238E27FC236}">
                <a16:creationId xmlns="" xmlns:a16="http://schemas.microsoft.com/office/drawing/2014/main" id="{FA5268C3-6977-45C0-8D47-39B2D717F83D}"/>
              </a:ext>
            </a:extLst>
          </p:cNvPr>
          <p:cNvSpPr/>
          <p:nvPr/>
        </p:nvSpPr>
        <p:spPr>
          <a:xfrm>
            <a:off x="1881188" y="2057400"/>
            <a:ext cx="8678862" cy="1371600"/>
          </a:xfrm>
          <a:prstGeom prst="rect">
            <a:avLst/>
          </a:prstGeom>
          <a:solidFill>
            <a:schemeClr val="bg1"/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sz="2400" b="1" dirty="0" smtClean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НДИКАТОРЫ РИСКА НАРУШЕНИЯ  ОБЯЗАТЕЛЬНЫХ ТРЕБОВАНИЙ </a:t>
            </a:r>
            <a:endParaRPr lang="ru-RU" sz="2400" b="1" dirty="0">
              <a:solidFill>
                <a:schemeClr val="accent5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112" name="Picture 25" descr="http://www.gosnadzor.ru/upload/iblock/fd4/slideshow_2.jpg">
            <a:extLst>
              <a:ext uri="{FF2B5EF4-FFF2-40B4-BE49-F238E27FC236}">
                <a16:creationId xmlns="" xmlns:a16="http://schemas.microsoft.com/office/drawing/2014/main" id="{3D6410DC-1129-421A-87A9-6DBB23DD96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9287" y="3886201"/>
            <a:ext cx="1585913" cy="1343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13" name="Рисунок 2">
            <a:extLst>
              <a:ext uri="{FF2B5EF4-FFF2-40B4-BE49-F238E27FC236}">
                <a16:creationId xmlns="" xmlns:a16="http://schemas.microsoft.com/office/drawing/2014/main" id="{03641E7F-4F80-418E-88B4-1D1C11DC68F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08391" y="3886201"/>
            <a:ext cx="1552575" cy="1343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14" name="Picture 27">
            <a:extLst>
              <a:ext uri="{FF2B5EF4-FFF2-40B4-BE49-F238E27FC236}">
                <a16:creationId xmlns="" xmlns:a16="http://schemas.microsoft.com/office/drawing/2014/main" id="{B1F6C479-FDB0-4B20-9372-A82050DD9D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7965" y="3886201"/>
            <a:ext cx="1552575" cy="1343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115" name="Рисунок 4">
            <a:extLst>
              <a:ext uri="{FF2B5EF4-FFF2-40B4-BE49-F238E27FC236}">
                <a16:creationId xmlns="" xmlns:a16="http://schemas.microsoft.com/office/drawing/2014/main" id="{6A54F778-7D2E-47E1-BFE1-992F397A7E9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8652" y="3886201"/>
            <a:ext cx="1617663" cy="1343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16" name="Рисунок 2">
            <a:extLst>
              <a:ext uri="{FF2B5EF4-FFF2-40B4-BE49-F238E27FC236}">
                <a16:creationId xmlns="" xmlns:a16="http://schemas.microsoft.com/office/drawing/2014/main" id="{A06142CE-A42F-4DB9-88F1-4418ECE9788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23315" y="3886201"/>
            <a:ext cx="1614487" cy="1343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=""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7745916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=""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0"/>
            <a:ext cx="195385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28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82457"/>
            <a:ext cx="10972800" cy="1150757"/>
            <a:chOff x="35496" y="36555"/>
            <a:chExt cx="9107488" cy="1197107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ru-RU" kern="0" dirty="0">
                  <a:solidFill>
                    <a:sysClr val="windowText" lastClr="000000"/>
                  </a:solidFill>
                  <a:latin typeface="Times New Roman" pitchFamily="18" charset="0"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>
                  <a:defRPr/>
                </a:pPr>
                <a:endParaRPr lang="ru-RU" kern="0" dirty="0">
                  <a:solidFill>
                    <a:sysClr val="windowText" lastClr="000000"/>
                  </a:solidFill>
                  <a:latin typeface="Times New Roman" pitchFamily="18" charset="0"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>
                  <a:defRPr/>
                </a:pPr>
                <a:endParaRPr lang="ru-RU" kern="0" dirty="0">
                  <a:solidFill>
                    <a:sysClr val="windowText" lastClr="000000"/>
                  </a:solidFill>
                  <a:latin typeface="Times New Roman" pitchFamily="18" charset="0"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35496" y="36555"/>
              <a:ext cx="4315393" cy="1197107"/>
              <a:chOff x="35496" y="36555"/>
              <a:chExt cx="4315393" cy="1197107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35496" y="36555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algn="ctr">
                  <a:defRPr/>
                </a:pPr>
                <a:r>
                  <a:rPr lang="ru-RU" sz="1600" b="1" kern="0" dirty="0"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Arial" charset="0"/>
                    <a:cs typeface="Arial" charset="0"/>
                  </a:rPr>
                  <a:t>РОСТЕХНАДЗОР</a:t>
                </a:r>
                <a:endParaRPr lang="ru-RU" kern="0" dirty="0">
                  <a:solidFill>
                    <a:sysClr val="windowText" lastClr="000000"/>
                  </a:solidFill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=""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24889" y="5949283"/>
            <a:ext cx="738698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prstClr val="white"/>
                </a:solidFill>
              </a:rPr>
              <a:pPr algn="ctr">
                <a:defRPr/>
              </a:pPr>
              <a:t>2</a:t>
            </a:fld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5" name="AutoShape 39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191477" y="-144463"/>
            <a:ext cx="375138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solidFill>
                <a:prstClr val="black"/>
              </a:solidFill>
              <a:latin typeface="Times New Roman" pitchFamily="18" charset="0"/>
              <a:cs typeface="Arial" charset="0"/>
            </a:endParaRPr>
          </a:p>
        </p:txBody>
      </p:sp>
      <p:sp>
        <p:nvSpPr>
          <p:cNvPr id="16" name="AutoShape 41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379046" y="7938"/>
            <a:ext cx="375138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solidFill>
                <a:prstClr val="black"/>
              </a:solidFill>
              <a:latin typeface="Times New Roman" pitchFamily="18" charset="0"/>
              <a:cs typeface="Arial" charset="0"/>
            </a:endParaRPr>
          </a:p>
        </p:txBody>
      </p:sp>
      <p:sp>
        <p:nvSpPr>
          <p:cNvPr id="15" name="Text Box 18"/>
          <p:cNvSpPr txBox="1">
            <a:spLocks noChangeArrowheads="1"/>
          </p:cNvSpPr>
          <p:nvPr/>
        </p:nvSpPr>
        <p:spPr bwMode="auto">
          <a:xfrm>
            <a:off x="1518557" y="770637"/>
            <a:ext cx="10338083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600" u="sng" kern="0" cap="all" dirty="0">
                <a:solidFill>
                  <a:sysClr val="windowText" lastClr="000000"/>
                </a:solidFill>
                <a:latin typeface="Times New Roman" pitchFamily="18" charset="0"/>
                <a:cs typeface="Times New Roman" panose="02020603050405020304" pitchFamily="18" charset="0"/>
              </a:rPr>
              <a:t>Об организации работы по выявлению индикаторов риска нарушения обязательных требований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449037" y="1556792"/>
            <a:ext cx="11407604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400" i="1" dirty="0">
                <a:solidFill>
                  <a:prstClr val="black"/>
                </a:solidFill>
                <a:latin typeface="Times New Roman" pitchFamily="18" charset="0"/>
                <a:cs typeface="Arial" charset="0"/>
              </a:rPr>
              <a:t>В 2023 году проведение внеплановых контрольных (надзорных) мероприятий при выявлении индикаторов риска нарушения обязательных требований допускалось в отношении объектов: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400" i="1" dirty="0">
                <a:solidFill>
                  <a:prstClr val="black"/>
                </a:solidFill>
                <a:latin typeface="Times New Roman" pitchFamily="18" charset="0"/>
                <a:cs typeface="Arial" charset="0"/>
              </a:rPr>
              <a:t>чрезвычайно высокого и высокого рисков, опасных производственных объектов I и II классов опасности, гидротехнических сооружений I и II классов, </a:t>
            </a:r>
            <a:r>
              <a:rPr lang="ru-RU" sz="1400" i="1" u="sng" dirty="0">
                <a:solidFill>
                  <a:prstClr val="black"/>
                </a:solidFill>
                <a:latin typeface="Times New Roman" pitchFamily="18" charset="0"/>
                <a:cs typeface="Arial" charset="0"/>
              </a:rPr>
              <a:t>или индикаторов риска, влекущих непосредственную угрозу причинения вреда жизни и тяжкого вреда здоровью граждан.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566615" y="2596242"/>
            <a:ext cx="10891853" cy="144655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400" u="sng" dirty="0" smtClean="0">
                <a:latin typeface="Times New Roman" pitchFamily="18" charset="0"/>
                <a:cs typeface="Times New Roman" pitchFamily="18" charset="0"/>
              </a:rPr>
              <a:t>Федеральный государственный энергетический надзор</a:t>
            </a:r>
          </a:p>
          <a:p>
            <a:pPr algn="ctr"/>
            <a:r>
              <a:rPr lang="ru-RU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3</a:t>
            </a:r>
            <a:r>
              <a:rPr lang="ru-RU" sz="1400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индикатора риска нарушений обязательных требований</a:t>
            </a:r>
          </a:p>
          <a:p>
            <a:pPr algn="ctr"/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МИНИСТЕРСТВО 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ЭНЕРГЕТИКИ РОССИЙСКОЙ ФЕДЕРАЦИИ</a:t>
            </a:r>
          </a:p>
          <a:p>
            <a:pPr algn="ctr"/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ПРИКАЗ от 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30 декабря 2021 года N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1540</a:t>
            </a:r>
            <a:endParaRPr lang="ru-RU" sz="1400" dirty="0"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«Об 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утверждении перечня индикаторов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риска  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нарушения обязательных требований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по</a:t>
            </a:r>
          </a:p>
          <a:p>
            <a:pPr algn="ctr"/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федеральному государственному энергетическому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надзору»</a:t>
            </a:r>
            <a:endParaRPr lang="ru-RU" sz="14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566614" y="4452244"/>
            <a:ext cx="10891853" cy="166199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400" u="sng" dirty="0" smtClean="0">
                <a:latin typeface="Times New Roman" pitchFamily="18" charset="0"/>
                <a:cs typeface="Times New Roman" pitchFamily="18" charset="0"/>
              </a:rPr>
              <a:t>Федеральный государственный надзор  в области промышленной безопасности </a:t>
            </a:r>
          </a:p>
          <a:p>
            <a:pPr algn="ctr"/>
            <a:r>
              <a:rPr lang="ru-RU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9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 индикаторов  риска нарушений обязательных требований</a:t>
            </a:r>
          </a:p>
          <a:p>
            <a:pPr algn="ctr"/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ФЕДЕРАЛЬНАЯ СЛУЖБА ПО ЭКОЛОГИЧЕСКОМУ, ТЕХНОЛОГИЧЕСКОМУ И АТОМНОМУ НАДЗОРУ</a:t>
            </a:r>
          </a:p>
          <a:p>
            <a:pPr algn="ctr"/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ПРИКАЗ от 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23 ноября 2021 года N 397</a:t>
            </a:r>
          </a:p>
          <a:p>
            <a:pPr algn="ctr"/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«Об 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утверждении перечня индикаторов риска нарушения обязательных требований, используемых при осуществлении Федеральной службой по экологическому, технологическому и атомному надзору и её территориальными органами федерального государственного надзора в области промышленной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безопасности»</a:t>
            </a:r>
            <a:endParaRPr lang="ru-RU" sz="1400" dirty="0"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571858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" descr="Картинка 1 из 5605">
            <a:hlinkClick r:id="rId3"/>
            <a:extLst>
              <a:ext uri="{FF2B5EF4-FFF2-40B4-BE49-F238E27FC236}">
                <a16:creationId xmlns="" xmlns:a16="http://schemas.microsoft.com/office/drawing/2014/main" id="{9BF66104-EFA1-4499-9964-1E12DFB144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duotone>
              <a:schemeClr val="bg2">
                <a:shade val="45000"/>
                <a:satMod val="135000"/>
              </a:schemeClr>
              <a:prstClr val="white"/>
            </a:duotone>
            <a:lum bright="9000" contrast="5000"/>
          </a:blip>
          <a:srcRect/>
          <a:stretch>
            <a:fillRect/>
          </a:stretch>
        </p:blipFill>
        <p:spPr bwMode="auto">
          <a:xfrm>
            <a:off x="2452664" y="1428736"/>
            <a:ext cx="7608146" cy="5072098"/>
          </a:xfrm>
          <a:prstGeom prst="rect">
            <a:avLst/>
          </a:prstGeom>
          <a:noFill/>
        </p:spPr>
      </p:pic>
      <p:sp>
        <p:nvSpPr>
          <p:cNvPr id="16387" name="Номер слайда 4">
            <a:extLst>
              <a:ext uri="{FF2B5EF4-FFF2-40B4-BE49-F238E27FC236}">
                <a16:creationId xmlns="" xmlns:a16="http://schemas.microsoft.com/office/drawing/2014/main" id="{66E1B870-D4F7-4238-8997-C82A6247D1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fld id="{2C6255DE-693C-43A8-A990-A0CE3F014115}" type="slidenum">
              <a:rPr lang="ru-RU" altLang="ru-RU" sz="1200">
                <a:solidFill>
                  <a:srgbClr val="898989"/>
                </a:solidFill>
                <a:latin typeface="Arial" panose="020B0604020202020204" pitchFamily="34" charset="0"/>
              </a:rPr>
              <a:pPr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t>3</a:t>
            </a:fld>
            <a:endParaRPr lang="ru-RU" altLang="ru-RU" sz="1200">
              <a:solidFill>
                <a:srgbClr val="898989"/>
              </a:solidFill>
              <a:latin typeface="Arial" panose="020B0604020202020204" pitchFamily="34" charset="0"/>
            </a:endParaRPr>
          </a:p>
        </p:txBody>
      </p:sp>
      <p:sp>
        <p:nvSpPr>
          <p:cNvPr id="3" name="Прямоугольник 2">
            <a:extLst>
              <a:ext uri="{FF2B5EF4-FFF2-40B4-BE49-F238E27FC236}">
                <a16:creationId xmlns="" xmlns:a16="http://schemas.microsoft.com/office/drawing/2014/main" id="{65D2BB75-0EAD-4E15-B4F4-7E3E427F43A2}"/>
              </a:ext>
            </a:extLst>
          </p:cNvPr>
          <p:cNvSpPr/>
          <p:nvPr/>
        </p:nvSpPr>
        <p:spPr>
          <a:xfrm>
            <a:off x="2452690" y="188914"/>
            <a:ext cx="7608887" cy="12398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4000" b="1" dirty="0">
                <a:solidFill>
                  <a:schemeClr val="tx1"/>
                </a:solidFill>
              </a:rPr>
              <a:t>Спасибо за внимание!</a:t>
            </a:r>
          </a:p>
        </p:txBody>
      </p:sp>
      <p:sp>
        <p:nvSpPr>
          <p:cNvPr id="7" name="Line 2">
            <a:extLst>
              <a:ext uri="{FF2B5EF4-FFF2-40B4-BE49-F238E27FC236}">
                <a16:creationId xmlns="" xmlns:a16="http://schemas.microsoft.com/office/drawing/2014/main" id="{FE7A764A-7624-4969-9712-79AF638F7576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631504" y="1429544"/>
            <a:ext cx="9144000" cy="0"/>
          </a:xfrm>
          <a:prstGeom prst="line">
            <a:avLst/>
          </a:prstGeom>
          <a:noFill/>
          <a:ln w="38100">
            <a:solidFill>
              <a:srgbClr val="C00000"/>
            </a:solidFill>
            <a:round/>
            <a:headEnd/>
            <a:tailEnd/>
          </a:ln>
          <a:scene3d>
            <a:camera prst="orthographicFront"/>
            <a:lightRig rig="threePt" dir="t"/>
          </a:scene3d>
          <a:sp3d>
            <a:bevelT w="139700"/>
          </a:sp3d>
        </p:spPr>
        <p:txBody>
          <a:bodyPr wrap="none" anchor="ctr"/>
          <a:lstStyle/>
          <a:p>
            <a:pPr eaLnBrk="1" hangingPunct="1">
              <a:defRPr/>
            </a:pPr>
            <a:endParaRPr lang="ru-RU" dirty="0">
              <a:latin typeface="Calibri" pitchFamily="34" charset="0"/>
              <a:cs typeface="Calibri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BoIKoMzT9Wh20k0e2mB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3</TotalTime>
  <Words>203</Words>
  <Application>Microsoft Office PowerPoint</Application>
  <PresentationFormat>Произвольный</PresentationFormat>
  <Paragraphs>24</Paragraphs>
  <Slides>3</Slides>
  <Notes>2</Notes>
  <HiddenSlides>0</HiddenSlides>
  <MMClips>0</MMClips>
  <ScaleCrop>false</ScaleCrop>
  <HeadingPairs>
    <vt:vector size="6" baseType="variant"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</vt:i4>
      </vt:variant>
    </vt:vector>
  </HeadingPairs>
  <TitlesOfParts>
    <vt:vector size="6" baseType="lpstr">
      <vt:lpstr>Тема Office</vt:lpstr>
      <vt:lpstr>1_Тема Office</vt:lpstr>
      <vt:lpstr>Слайд think-cell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Ксения В. Крушельницкая</dc:creator>
  <cp:lastModifiedBy>Ксения В. Крушельницкая</cp:lastModifiedBy>
  <cp:revision>5</cp:revision>
  <dcterms:created xsi:type="dcterms:W3CDTF">2024-02-19T07:21:12Z</dcterms:created>
  <dcterms:modified xsi:type="dcterms:W3CDTF">2024-07-29T23:50:53Z</dcterms:modified>
</cp:coreProperties>
</file>